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2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&lt;Harsh Verma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?</a:t>
            </a:r>
          </a:p>
          <a:p>
            <a:pPr marL="0" indent="0">
              <a:buNone/>
            </a:pPr>
            <a:r>
              <a:rPr lang="en-US" sz="2000" b="1" dirty="0"/>
              <a:t>CI/CD: </a:t>
            </a:r>
            <a:r>
              <a:rPr lang="en-GB" sz="2000" dirty="0"/>
              <a:t>Automates testing, speeds releases, provides feedback, improves collaboration, reduces errors, enhances quality.</a:t>
            </a:r>
          </a:p>
          <a:p>
            <a:pPr marL="0" indent="0">
              <a:buNone/>
            </a:pPr>
            <a:r>
              <a:rPr lang="en-GB" sz="2000" b="1" dirty="0"/>
              <a:t>Enhancing Collaboration:</a:t>
            </a:r>
            <a:r>
              <a:rPr lang="en-GB" sz="2000" dirty="0"/>
              <a:t> It unites developers, project managers, and other stakeholders, fostering better teamwork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?</a:t>
            </a:r>
          </a:p>
          <a:p>
            <a:pPr marL="0" indent="0">
              <a:buNone/>
            </a:pPr>
            <a:r>
              <a:rPr lang="en-GB" sz="2000" b="1" dirty="0"/>
              <a:t>Automating Workflows: </a:t>
            </a:r>
            <a:r>
              <a:rPr lang="en-GB" sz="2000" dirty="0"/>
              <a:t>CI/CD pipelines streamline the build, test, and deployment processes, reducing manual effort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EE73367-4741-0A99-3582-7160F40724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1918" y="1860993"/>
            <a:ext cx="5069842" cy="3981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Learning Curve: </a:t>
            </a:r>
            <a:r>
              <a:rPr lang="en-GB" sz="2000" dirty="0" err="1"/>
              <a:t>FitNesse</a:t>
            </a:r>
            <a:r>
              <a:rPr lang="en-GB" sz="2000" dirty="0"/>
              <a:t> has a unique syntax and structure, which was difficult to learn and master.</a:t>
            </a:r>
          </a:p>
          <a:p>
            <a:pPr marL="0" indent="0">
              <a:buNone/>
            </a:pPr>
            <a:r>
              <a:rPr lang="en-GB" sz="2000" b="1" dirty="0"/>
              <a:t>Integration Issues: </a:t>
            </a:r>
            <a:r>
              <a:rPr lang="en-GB" sz="2000" dirty="0"/>
              <a:t>Integrating </a:t>
            </a:r>
            <a:r>
              <a:rPr lang="en-GB" sz="2000" dirty="0" err="1"/>
              <a:t>FitNesse</a:t>
            </a:r>
            <a:r>
              <a:rPr lang="en-GB" sz="2000" dirty="0"/>
              <a:t> with existing systems and workflows was complex and time-consuming.</a:t>
            </a:r>
          </a:p>
          <a:p>
            <a:pPr marL="0" indent="0">
              <a:buNone/>
            </a:pPr>
            <a:r>
              <a:rPr lang="en-GB" sz="2000" b="1" dirty="0"/>
              <a:t>Maintenance Overhead:</a:t>
            </a:r>
            <a:r>
              <a:rPr lang="en-GB" sz="2000" dirty="0"/>
              <a:t> Keeping the test suites up-to-date with changing requirements and codebases required continuous effort.</a:t>
            </a:r>
          </a:p>
          <a:p>
            <a:pPr marL="0" indent="0">
              <a:buNone/>
            </a:pPr>
            <a:r>
              <a:rPr lang="en-GB" sz="2000" b="1" dirty="0"/>
              <a:t>Performance Concerns: </a:t>
            </a:r>
            <a:r>
              <a:rPr lang="en-GB" sz="2000" dirty="0"/>
              <a:t>Running large test suites can be slow, impacting the overall development cycle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D005CB-BBD8-22D9-65DA-E9CD2173D7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963372"/>
            <a:ext cx="4917441" cy="386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3550" y="1860992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Managing Secrets and Environment Variables: </a:t>
            </a:r>
            <a:r>
              <a:rPr lang="en-GB" sz="2000" dirty="0"/>
              <a:t>Ensuring sensitive data is securely handled can be complex.</a:t>
            </a:r>
          </a:p>
          <a:p>
            <a:pPr marL="0" indent="0">
              <a:buNone/>
            </a:pPr>
            <a:r>
              <a:rPr lang="en-GB" sz="2000" b="1" dirty="0"/>
              <a:t>Integration Complexity: </a:t>
            </a:r>
            <a:r>
              <a:rPr lang="en-GB" sz="2000" dirty="0"/>
              <a:t>Integrating GitHub Actions with existing workflows and tools may require significant effort. </a:t>
            </a:r>
          </a:p>
          <a:p>
            <a:pPr marL="0" indent="0">
              <a:buNone/>
            </a:pPr>
            <a:r>
              <a:rPr lang="en-GB" sz="2000" b="1" dirty="0"/>
              <a:t>Debugging Workflows: </a:t>
            </a:r>
            <a:r>
              <a:rPr lang="en-GB" sz="2000" dirty="0"/>
              <a:t>Troubleshooting failed workflows can be time-consuming and complex.</a:t>
            </a:r>
          </a:p>
          <a:p>
            <a:pPr marL="0" indent="0">
              <a:buNone/>
            </a:pPr>
            <a:r>
              <a:rPr lang="en-GB" sz="2000" b="1" dirty="0"/>
              <a:t>Resource Limits: </a:t>
            </a:r>
            <a:r>
              <a:rPr lang="en-GB" sz="2000" dirty="0"/>
              <a:t>Hitting GitHub’s usage limits for actions, storage, and concurrent jobs can disrupt workflow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08FB516C-8D2D-B7D3-6B45-1C90CFD22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8" y="1860992"/>
            <a:ext cx="5323029" cy="3970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Ownership Issues: </a:t>
            </a:r>
            <a:r>
              <a:rPr lang="en-GB" sz="2000" dirty="0"/>
              <a:t>Defining clear ownership and responsibilities for the CI/CD pipeline can be complex.</a:t>
            </a:r>
          </a:p>
          <a:p>
            <a:pPr marL="0" indent="0">
              <a:buNone/>
            </a:pPr>
            <a:r>
              <a:rPr lang="en-GB" sz="2000" b="1" dirty="0"/>
              <a:t>Security Integration:</a:t>
            </a:r>
            <a:r>
              <a:rPr lang="en-GB" sz="2000" dirty="0"/>
              <a:t> Incorporating security tools and practices into the CI/CD pipeline without slowing down the process.</a:t>
            </a:r>
          </a:p>
          <a:p>
            <a:pPr marL="0" indent="0">
              <a:buNone/>
            </a:pPr>
            <a:r>
              <a:rPr lang="en-GB" sz="2000" b="1" dirty="0"/>
              <a:t>Multiple Pipelines Management: </a:t>
            </a:r>
            <a:r>
              <a:rPr lang="en-GB" sz="2000" dirty="0"/>
              <a:t>Handling multiple CI/CD pipelines for different projects can be complex and resource-intensive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45AEB900-C544-978C-E060-93D6AF5EF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47768"/>
            <a:ext cx="5176628" cy="388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iew database fundamentals (ER models, relational models)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lore version control systems (Git) and branching strategies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 setting up a CI/CD pipeline for a sample project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1: DBMS Basic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2: Advanced DBM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3: Agile Software Testing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4: CI/CD Basic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5: Advanced CI/CD along with case study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d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Workflow Action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ed Joins and various other SQL operation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mitted a case study for evaluation involving all the topics involved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r>
              <a:rPr lang="en-US" sz="2000" dirty="0"/>
              <a:t>Puzzle 1: Identify the correct Azure service for hosting a web application.</a:t>
            </a:r>
          </a:p>
          <a:p>
            <a:r>
              <a:rPr lang="en-US" sz="2000" dirty="0"/>
              <a:t>Puzzle 2: Configure an Azure Virtual Machine with specific requirements.</a:t>
            </a:r>
          </a:p>
          <a:p>
            <a:r>
              <a:rPr lang="en-US" sz="2000" dirty="0"/>
              <a:t>Puzzle 3: Set up an Azure SQL Database and retrieve data using SQL queri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131F9BD-3830-903E-65FF-7DB3F5223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963817"/>
            <a:ext cx="5274169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b="0" i="0" dirty="0">
                <a:solidFill>
                  <a:srgbClr val="111111"/>
                </a:solidFill>
                <a:effectLst/>
                <a:latin typeface="-apple-system"/>
              </a:rPr>
              <a:t>Continuous integration, delivery and deployment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1800" i="1" dirty="0"/>
              <a:t>Azure Automation: Automates repetitive tasks and workflows for cloud management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1800" i="1" dirty="0"/>
              <a:t>Azure DevOps: Manages CI/CD workflows for continuous integration and delivery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1800" i="1" dirty="0"/>
              <a:t>Azure Logic Apps: Automates workflows by integrating apps, data, services, and systems.</a:t>
            </a:r>
            <a:endParaRPr lang="en-US" sz="1800" i="1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/>
              <a:t>"Small steps, big impact—together I thrive."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This phrase highlights how individual efforts, much like an ant’s, can lead to significant results when driven by purpose and collaboration.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  <p:pic>
        <p:nvPicPr>
          <p:cNvPr id="1028" name="Picture 4" descr="Ant | Description, Taxonomy, Habitat, Species, Life Cycle, &amp; Facts |  Britannica">
            <a:extLst>
              <a:ext uri="{FF2B5EF4-FFF2-40B4-BE49-F238E27FC236}">
                <a16:creationId xmlns:a16="http://schemas.microsoft.com/office/drawing/2014/main" id="{BDAEA5AD-D7AE-1C81-3786-04CA1A50B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681" y="1877965"/>
            <a:ext cx="4526943" cy="3983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dirty="0"/>
              <a:t>Details of the learning:</a:t>
            </a:r>
          </a:p>
          <a:p>
            <a:pPr algn="just"/>
            <a:r>
              <a:rPr lang="en-US" sz="2000" b="1" dirty="0"/>
              <a:t>STLC</a:t>
            </a:r>
          </a:p>
          <a:p>
            <a:pPr algn="just"/>
            <a:r>
              <a:rPr lang="en-US" sz="2000" b="1" dirty="0"/>
              <a:t>V-Lifecycle Model: </a:t>
            </a:r>
            <a:r>
              <a:rPr lang="en-US" sz="2000" dirty="0"/>
              <a:t>It refers to the ability to recognize, understand, manage, and utilize emotions effectively in oneself and in interactions with others.</a:t>
            </a:r>
          </a:p>
          <a:p>
            <a:pPr algn="just"/>
            <a:r>
              <a:rPr lang="en-US" sz="2000" b="1" dirty="0"/>
              <a:t>Agile Testing: </a:t>
            </a:r>
            <a:r>
              <a:rPr lang="en-US" sz="2000" dirty="0"/>
              <a:t>Techniques for truly understanding and responding to the emotions and perspectives of others.</a:t>
            </a:r>
          </a:p>
          <a:p>
            <a:pPr algn="just"/>
            <a:r>
              <a:rPr lang="en-US" sz="2000" b="1" dirty="0" err="1"/>
              <a:t>Fitnesse</a:t>
            </a:r>
            <a:r>
              <a:rPr lang="en-US" sz="2000" b="1" dirty="0"/>
              <a:t> Tool:</a:t>
            </a:r>
            <a:r>
              <a:rPr lang="en-US" sz="2000" dirty="0"/>
              <a:t> Test driven development helps in reducing bugs and improving quality of cod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A6F02E-5054-7EED-64F0-5EAB6EA47D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60993"/>
            <a:ext cx="5434989" cy="4076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err="1"/>
              <a:t>Github</a:t>
            </a:r>
            <a:r>
              <a:rPr lang="en-US" sz="2000" b="1" dirty="0"/>
              <a:t> Action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orkflow-&gt;Event-&gt;Job-&gt;Action-&gt;Runn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Two new Types of DBM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LTP (Online Transactional Processing 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LAP Database (Online Analytical Processing 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Cloud Service Model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AAS- Software CRM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AAS- AWS, Azur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8116F2-86FD-B5DE-7597-4BD2E7E0C5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60992"/>
            <a:ext cx="5434988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Principle of DevOp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Autom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ter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Continuous Improvemen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Collabor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Benefits of </a:t>
            </a:r>
            <a:r>
              <a:rPr lang="en-US" sz="2000" b="1" dirty="0" err="1"/>
              <a:t>Devops</a:t>
            </a: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igh RO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mproved Collabor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Early Detection and Correction of Issu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7336D1-4DC1-BF08-FA2D-CD063D9021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132115"/>
            <a:ext cx="5349007" cy="3444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Test-Driven Development (TDD) helps by:</a:t>
            </a:r>
          </a:p>
          <a:p>
            <a:pPr marL="0" indent="0">
              <a:buNone/>
            </a:pPr>
            <a:r>
              <a:rPr lang="en-GB" sz="2000" b="1" dirty="0"/>
              <a:t>Reducing Bugs</a:t>
            </a:r>
            <a:r>
              <a:rPr lang="en-GB" sz="2000" dirty="0"/>
              <a:t>: Catches issues early in the development process, leading to fewer bugs and errors.</a:t>
            </a:r>
          </a:p>
          <a:p>
            <a:pPr marL="0" indent="0">
              <a:buNone/>
            </a:pPr>
            <a:r>
              <a:rPr lang="en-GB" sz="2000" b="1" dirty="0"/>
              <a:t>Improving Code Quality:</a:t>
            </a:r>
            <a:r>
              <a:rPr lang="en-GB" sz="2000" dirty="0"/>
              <a:t> Promotes clean, modular, and well-structured code.</a:t>
            </a:r>
          </a:p>
          <a:p>
            <a:pPr marL="0" indent="0">
              <a:buNone/>
            </a:pPr>
            <a:r>
              <a:rPr lang="en-GB" sz="2000" b="1" dirty="0"/>
              <a:t>Enhancing Software Stability: </a:t>
            </a:r>
            <a:r>
              <a:rPr lang="en-GB" sz="2000" dirty="0"/>
              <a:t>Ensures higher stability and reliability of the software.</a:t>
            </a:r>
          </a:p>
          <a:p>
            <a:pPr marL="0" indent="0">
              <a:buNone/>
            </a:pPr>
            <a:r>
              <a:rPr lang="en-GB" sz="2000" b="1" dirty="0"/>
              <a:t>Better Design Decisions: </a:t>
            </a:r>
            <a:r>
              <a:rPr lang="en-GB" sz="2000" dirty="0"/>
              <a:t>Encourages developers to write code that is easy to test, maintain, and scale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3C99D16F-28EA-24BF-CEDC-7864E1A46E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60992"/>
            <a:ext cx="5434988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?</a:t>
            </a:r>
          </a:p>
          <a:p>
            <a:pPr marL="0" indent="0">
              <a:buNone/>
            </a:pPr>
            <a:r>
              <a:rPr lang="en-GB" sz="2000" b="1" i="1" dirty="0"/>
              <a:t>Customizing Workflows: </a:t>
            </a:r>
            <a:r>
              <a:rPr lang="en-GB" sz="2000" i="1" dirty="0"/>
              <a:t>Tailors automation to specific project needs, enhancing flexibility1.</a:t>
            </a:r>
          </a:p>
          <a:p>
            <a:pPr marL="0" indent="0">
              <a:buNone/>
            </a:pPr>
            <a:r>
              <a:rPr lang="en-GB" sz="2000" b="1" i="1" dirty="0"/>
              <a:t>Ensuring Compliance: </a:t>
            </a:r>
            <a:r>
              <a:rPr lang="en-GB" sz="2000" i="1" dirty="0"/>
              <a:t>Helps enforce security and governance policies across the development process</a:t>
            </a:r>
            <a:endParaRPr lang="en-US" sz="2000" i="1" dirty="0"/>
          </a:p>
          <a:p>
            <a:pPr marL="0" indent="0">
              <a:buNone/>
            </a:pPr>
            <a:r>
              <a:rPr lang="en-US" sz="2000" dirty="0"/>
              <a:t>How I feel Shell benefits from this learning ?</a:t>
            </a:r>
          </a:p>
          <a:p>
            <a:pPr marL="0" indent="0">
              <a:buNone/>
            </a:pPr>
            <a:r>
              <a:rPr lang="en-GB" sz="2000" b="1" dirty="0"/>
              <a:t>Global Reach: </a:t>
            </a:r>
            <a:r>
              <a:rPr lang="en-GB" sz="2000" dirty="0"/>
              <a:t>Access to a network of centres ensures high availability and performance.</a:t>
            </a:r>
          </a:p>
          <a:p>
            <a:pPr marL="0" indent="0">
              <a:buNone/>
            </a:pPr>
            <a:r>
              <a:rPr lang="en-GB" sz="2000" b="1" dirty="0"/>
              <a:t>Integrated Services: </a:t>
            </a:r>
            <a:r>
              <a:rPr lang="en-GB" sz="2000" dirty="0"/>
              <a:t>Seamless integration with other Microsoft tools and services enhances productivity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601B59D1-EA74-AF8C-0C70-D682B6B1E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860993"/>
            <a:ext cx="5323029" cy="399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81</TotalTime>
  <Words>906</Words>
  <Application>Microsoft Office PowerPoint</Application>
  <PresentationFormat>Widescreen</PresentationFormat>
  <Paragraphs>116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Verma, Harsh SBOBNG-PTIV/SR</cp:lastModifiedBy>
  <cp:revision>507</cp:revision>
  <dcterms:created xsi:type="dcterms:W3CDTF">2022-01-18T12:35:56Z</dcterms:created>
  <dcterms:modified xsi:type="dcterms:W3CDTF">2024-09-06T16:3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